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4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jpe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lexander </a:t>
            </a:r>
            <a:r>
              <a:rPr lang="en-US" sz="4000" dirty="0" err="1"/>
              <a:t>Langguth</a:t>
            </a:r>
            <a:r>
              <a:rPr lang="en-US" dirty="0"/>
              <a:t> – Mission Lead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2552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at McKinsey &amp; Company, Zurich </a:t>
            </a:r>
            <a:r>
              <a:rPr lang="en-US" sz="1200" dirty="0"/>
              <a:t>with responsibility up to Project Manager level, mainly focusing on public/ social, electrical power, pharmaceuticals and manufacturing sector work in Europe and Sub-Saharan Africa, e.g.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Country electrification </a:t>
            </a:r>
            <a:r>
              <a:rPr lang="en-US" sz="1200" dirty="0"/>
              <a:t>– Developed strategic initiatives for a national electric power utility of a sub-Saharan African country to improve access to electricity, reduce energy outages and minimize electric grid losses and delivered impact by setting up, training and leading a delivery team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Electric utility procurement </a:t>
            </a:r>
            <a:r>
              <a:rPr lang="en-US" sz="1200" dirty="0"/>
              <a:t>– Supported a large African electric power utility to deliver procurement savings by developing and implementing a contract negotiations approach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Social business model </a:t>
            </a:r>
            <a:r>
              <a:rPr lang="en-US" sz="1200" dirty="0"/>
              <a:t>– Developed a self-sustaining social business model for a leading pharmaceuticals company to market pharmaceuticals in rural Ind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Policy setting </a:t>
            </a:r>
            <a:r>
              <a:rPr lang="en-US" sz="1200" dirty="0"/>
              <a:t>– Supported the government of a Middle Eastern country to develop a tariff policy that enables GDP diversification and industrial growth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Start-up growth strategy </a:t>
            </a:r>
            <a:r>
              <a:rPr lang="en-US" sz="1200" dirty="0"/>
              <a:t>– Reviewed the business model of an advanced electronics start-up and recommended a strategy to boost growth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 year at the Center for Sustainable Finance and Private Wealth (CSP) </a:t>
            </a:r>
            <a:r>
              <a:rPr lang="en-US" sz="1200" dirty="0"/>
              <a:t>as the Head of Strategy and Partnerships, responsible for building a team that connects research, industry and private investors in order to drive positive social and environmental 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9620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lexander worked as </a:t>
            </a:r>
            <a:r>
              <a:rPr lang="en-US" sz="1200" dirty="0">
                <a:solidFill>
                  <a:srgbClr val="FF0000"/>
                </a:solidFill>
              </a:rPr>
              <a:t>researcher at ETH Zürich </a:t>
            </a:r>
            <a:r>
              <a:rPr lang="en-US" sz="1200" dirty="0">
                <a:solidFill>
                  <a:prstClr val="black"/>
                </a:solidFill>
              </a:rPr>
              <a:t>investigating the diffusion of energy efficient technologies in residential buildings and innovation strategies for photovoltaic technologi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holds a </a:t>
            </a:r>
            <a:r>
              <a:rPr lang="en-US" sz="1200" dirty="0">
                <a:solidFill>
                  <a:srgbClr val="FF0000"/>
                </a:solidFill>
              </a:rPr>
              <a:t>Master of Science degree in Strategic Management</a:t>
            </a:r>
            <a:r>
              <a:rPr lang="en-US" sz="1200" dirty="0">
                <a:solidFill>
                  <a:prstClr val="black"/>
                </a:solidFill>
              </a:rPr>
              <a:t> from </a:t>
            </a:r>
            <a:r>
              <a:rPr lang="en-US" sz="1200" dirty="0">
                <a:solidFill>
                  <a:srgbClr val="FF0000"/>
                </a:solidFill>
              </a:rPr>
              <a:t>HEC Lausanne, Switzerland </a:t>
            </a:r>
            <a:r>
              <a:rPr lang="en-US" sz="1200" dirty="0">
                <a:solidFill>
                  <a:prstClr val="black"/>
                </a:solidFill>
              </a:rPr>
              <a:t>with focus on Energy Economics and Sustainable Technologi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lexander speaks German and English fluently and is able to have professional conversations in Frenc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554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I’m driven by the motivation to create positive social and environmental impact through the work I do and the life I live. I take my energy from the people around me, exploring everything that nature has to offer (mostly on high mountains) and loads of good coffee.</a:t>
            </a: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4D759613-C1C1-4217-BE28-55C0FEE98C8F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AF0A7C5B-0910-4F7F-8D57-F690192350D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B83C7820-BDE6-4D6D-B527-15620D23CC58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56F9DBEE-CB24-4733-A467-9A71C4468A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47719F12-02AF-4AA9-A6DF-9F0E427F730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34C3C657-E7CA-4B9F-BC49-09871D8479A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38F6C80-E52D-EC40-B939-94D1E6B65B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9946433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41</Words>
  <Application>Microsoft Macintosh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lexander Langguth – Mission Lea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14:23Z</dcterms:modified>
</cp:coreProperties>
</file>